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4"/>
  </p:sldMasterIdLst>
  <p:notesMasterIdLst>
    <p:notesMasterId r:id="rId6"/>
  </p:notesMasterIdLst>
  <p:handoutMasterIdLst>
    <p:handoutMasterId r:id="rId7"/>
  </p:handoutMasterIdLst>
  <p:sldIdLst>
    <p:sldId id="264" r:id="rId5"/>
  </p:sldIdLst>
  <p:sldSz cx="5145088" cy="6429375"/>
  <p:notesSz cx="6797675" cy="9926638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13" userDrawn="1">
          <p15:clr>
            <a:srgbClr val="A4A3A4"/>
          </p15:clr>
        </p15:guide>
        <p15:guide id="2" pos="160" userDrawn="1">
          <p15:clr>
            <a:srgbClr val="A4A3A4"/>
          </p15:clr>
        </p15:guide>
        <p15:guide id="3" pos="1589" userDrawn="1">
          <p15:clr>
            <a:srgbClr val="A4A3A4"/>
          </p15:clr>
        </p15:guide>
        <p15:guide id="4" pos="1652" userDrawn="1">
          <p15:clr>
            <a:srgbClr val="A4A3A4"/>
          </p15:clr>
        </p15:guide>
        <p15:guide id="6" orient="horz" pos="976" userDrawn="1">
          <p15:clr>
            <a:srgbClr val="A4A3A4"/>
          </p15:clr>
        </p15:guide>
        <p15:guide id="7" pos="308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30A99C-19D8-3BD7-0569-DDADFA084DDC}" v="54" dt="2025-02-14T11:14:14.222"/>
  </p1510:revLst>
</p1510:revInfo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1" d="100"/>
          <a:sy n="111" d="100"/>
        </p:scale>
        <p:origin x="2286" y="108"/>
      </p:cViewPr>
      <p:guideLst>
        <p:guide orient="horz" pos="3613"/>
        <p:guide pos="160"/>
        <p:guide pos="1589"/>
        <p:guide pos="1652"/>
        <p:guide orient="horz" pos="976"/>
        <p:guide pos="308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sanne Kunzelmann" userId="460bbbb8-bd33-4b02-9649-52f5bccb28ee" providerId="ADAL" clId="{3DDD6D5B-A0C4-4796-861B-3BC3C5974C92}"/>
    <pc:docChg chg="undo redo custSel addSld delSld modSld sldOrd">
      <pc:chgData name="Susanne Kunzelmann" userId="460bbbb8-bd33-4b02-9649-52f5bccb28ee" providerId="ADAL" clId="{3DDD6D5B-A0C4-4796-861B-3BC3C5974C92}" dt="2025-02-11T12:29:48.219" v="545" actId="47"/>
      <pc:docMkLst>
        <pc:docMk/>
      </pc:docMkLst>
      <pc:sldChg chg="addSp delSp modSp del mod">
        <pc:chgData name="Susanne Kunzelmann" userId="460bbbb8-bd33-4b02-9649-52f5bccb28ee" providerId="ADAL" clId="{3DDD6D5B-A0C4-4796-861B-3BC3C5974C92}" dt="2025-02-11T10:46:07.113" v="449" actId="47"/>
        <pc:sldMkLst>
          <pc:docMk/>
          <pc:sldMk cId="2705153487" sldId="263"/>
        </pc:sldMkLst>
        <pc:spChg chg="add del mod">
          <ac:chgData name="Susanne Kunzelmann" userId="460bbbb8-bd33-4b02-9649-52f5bccb28ee" providerId="ADAL" clId="{3DDD6D5B-A0C4-4796-861B-3BC3C5974C92}" dt="2025-02-11T10:41:50.291" v="420" actId="478"/>
          <ac:spMkLst>
            <pc:docMk/>
            <pc:sldMk cId="2705153487" sldId="263"/>
            <ac:spMk id="4" creationId="{447E0179-403D-EB72-6073-D31E245B8881}"/>
          </ac:spMkLst>
        </pc:spChg>
        <pc:spChg chg="add mod">
          <ac:chgData name="Susanne Kunzelmann" userId="460bbbb8-bd33-4b02-9649-52f5bccb28ee" providerId="ADAL" clId="{3DDD6D5B-A0C4-4796-861B-3BC3C5974C92}" dt="2025-02-11T10:42:00.883" v="421"/>
          <ac:spMkLst>
            <pc:docMk/>
            <pc:sldMk cId="2705153487" sldId="263"/>
            <ac:spMk id="5" creationId="{62FD7157-44F8-CFB7-6D6E-91CED8FCC71C}"/>
          </ac:spMkLst>
        </pc:spChg>
        <pc:spChg chg="add mod">
          <ac:chgData name="Susanne Kunzelmann" userId="460bbbb8-bd33-4b02-9649-52f5bccb28ee" providerId="ADAL" clId="{3DDD6D5B-A0C4-4796-861B-3BC3C5974C92}" dt="2025-02-11T10:42:00.883" v="421"/>
          <ac:spMkLst>
            <pc:docMk/>
            <pc:sldMk cId="2705153487" sldId="263"/>
            <ac:spMk id="8" creationId="{1EB471EC-D5A7-15CE-4014-D709DA4DC80A}"/>
          </ac:spMkLst>
        </pc:spChg>
        <pc:spChg chg="del">
          <ac:chgData name="Susanne Kunzelmann" userId="460bbbb8-bd33-4b02-9649-52f5bccb28ee" providerId="ADAL" clId="{3DDD6D5B-A0C4-4796-861B-3BC3C5974C92}" dt="2025-02-11T10:41:48.239" v="418" actId="478"/>
          <ac:spMkLst>
            <pc:docMk/>
            <pc:sldMk cId="2705153487" sldId="263"/>
            <ac:spMk id="9" creationId="{A3CDD64F-5311-9982-33C5-3CB006F92F63}"/>
          </ac:spMkLst>
        </pc:spChg>
        <pc:spChg chg="add mod">
          <ac:chgData name="Susanne Kunzelmann" userId="460bbbb8-bd33-4b02-9649-52f5bccb28ee" providerId="ADAL" clId="{3DDD6D5B-A0C4-4796-861B-3BC3C5974C92}" dt="2025-02-11T10:42:00.883" v="421"/>
          <ac:spMkLst>
            <pc:docMk/>
            <pc:sldMk cId="2705153487" sldId="263"/>
            <ac:spMk id="10" creationId="{AE109D6E-B979-1DFF-C7D0-CB70B44A90F0}"/>
          </ac:spMkLst>
        </pc:spChg>
        <pc:spChg chg="add mod">
          <ac:chgData name="Susanne Kunzelmann" userId="460bbbb8-bd33-4b02-9649-52f5bccb28ee" providerId="ADAL" clId="{3DDD6D5B-A0C4-4796-861B-3BC3C5974C92}" dt="2025-02-11T10:42:00.883" v="421"/>
          <ac:spMkLst>
            <pc:docMk/>
            <pc:sldMk cId="2705153487" sldId="263"/>
            <ac:spMk id="11" creationId="{6DCE5C96-4396-061D-5AC3-8B95403AA28F}"/>
          </ac:spMkLst>
        </pc:spChg>
        <pc:spChg chg="del">
          <ac:chgData name="Susanne Kunzelmann" userId="460bbbb8-bd33-4b02-9649-52f5bccb28ee" providerId="ADAL" clId="{3DDD6D5B-A0C4-4796-861B-3BC3C5974C92}" dt="2025-02-11T10:41:49.531" v="419" actId="478"/>
          <ac:spMkLst>
            <pc:docMk/>
            <pc:sldMk cId="2705153487" sldId="263"/>
            <ac:spMk id="16" creationId="{2C14A8B0-57E7-8CFF-C711-5422D1A055A4}"/>
          </ac:spMkLst>
        </pc:spChg>
        <pc:spChg chg="del">
          <ac:chgData name="Susanne Kunzelmann" userId="460bbbb8-bd33-4b02-9649-52f5bccb28ee" providerId="ADAL" clId="{3DDD6D5B-A0C4-4796-861B-3BC3C5974C92}" dt="2025-02-11T10:41:48.239" v="418" actId="478"/>
          <ac:spMkLst>
            <pc:docMk/>
            <pc:sldMk cId="2705153487" sldId="263"/>
            <ac:spMk id="21" creationId="{0C6BD8D1-0F71-F18E-52BB-5B89CFA7ACF2}"/>
          </ac:spMkLst>
        </pc:spChg>
        <pc:picChg chg="add mod">
          <ac:chgData name="Susanne Kunzelmann" userId="460bbbb8-bd33-4b02-9649-52f5bccb28ee" providerId="ADAL" clId="{3DDD6D5B-A0C4-4796-861B-3BC3C5974C92}" dt="2025-02-11T10:42:00.883" v="421"/>
          <ac:picMkLst>
            <pc:docMk/>
            <pc:sldMk cId="2705153487" sldId="263"/>
            <ac:picMk id="6" creationId="{A8A8F7A9-140B-1DCC-AE9E-0C48565743C7}"/>
          </ac:picMkLst>
        </pc:picChg>
        <pc:picChg chg="add mod">
          <ac:chgData name="Susanne Kunzelmann" userId="460bbbb8-bd33-4b02-9649-52f5bccb28ee" providerId="ADAL" clId="{3DDD6D5B-A0C4-4796-861B-3BC3C5974C92}" dt="2025-02-11T10:42:00.883" v="421"/>
          <ac:picMkLst>
            <pc:docMk/>
            <pc:sldMk cId="2705153487" sldId="263"/>
            <ac:picMk id="7" creationId="{DF8D9392-FC48-BD81-8CF0-F88AB8E81346}"/>
          </ac:picMkLst>
        </pc:picChg>
        <pc:picChg chg="del">
          <ac:chgData name="Susanne Kunzelmann" userId="460bbbb8-bd33-4b02-9649-52f5bccb28ee" providerId="ADAL" clId="{3DDD6D5B-A0C4-4796-861B-3BC3C5974C92}" dt="2025-02-11T10:41:48.239" v="418" actId="478"/>
          <ac:picMkLst>
            <pc:docMk/>
            <pc:sldMk cId="2705153487" sldId="263"/>
            <ac:picMk id="27" creationId="{7996A8CB-F8D0-6C06-BCB1-3148BA3A9B09}"/>
          </ac:picMkLst>
        </pc:picChg>
      </pc:sldChg>
      <pc:sldChg chg="addSp delSp modSp mod ord">
        <pc:chgData name="Susanne Kunzelmann" userId="460bbbb8-bd33-4b02-9649-52f5bccb28ee" providerId="ADAL" clId="{3DDD6D5B-A0C4-4796-861B-3BC3C5974C92}" dt="2025-02-11T11:13:25.984" v="504" actId="1036"/>
        <pc:sldMkLst>
          <pc:docMk/>
          <pc:sldMk cId="1000518306" sldId="264"/>
        </pc:sldMkLst>
        <pc:spChg chg="add mod">
          <ac:chgData name="Susanne Kunzelmann" userId="460bbbb8-bd33-4b02-9649-52f5bccb28ee" providerId="ADAL" clId="{3DDD6D5B-A0C4-4796-861B-3BC3C5974C92}" dt="2025-02-11T10:27:11.103" v="84"/>
          <ac:spMkLst>
            <pc:docMk/>
            <pc:sldMk cId="1000518306" sldId="264"/>
            <ac:spMk id="2" creationId="{59D119B0-1228-44EB-DD78-4A2337659334}"/>
          </ac:spMkLst>
        </pc:spChg>
        <pc:spChg chg="add del mod">
          <ac:chgData name="Susanne Kunzelmann" userId="460bbbb8-bd33-4b02-9649-52f5bccb28ee" providerId="ADAL" clId="{3DDD6D5B-A0C4-4796-861B-3BC3C5974C92}" dt="2025-02-11T10:41:14.369" v="414" actId="478"/>
          <ac:spMkLst>
            <pc:docMk/>
            <pc:sldMk cId="1000518306" sldId="264"/>
            <ac:spMk id="5" creationId="{219BAE76-0B0E-8315-4CCE-8159F2A55D55}"/>
          </ac:spMkLst>
        </pc:spChg>
        <pc:spChg chg="add del mod">
          <ac:chgData name="Susanne Kunzelmann" userId="460bbbb8-bd33-4b02-9649-52f5bccb28ee" providerId="ADAL" clId="{3DDD6D5B-A0C4-4796-861B-3BC3C5974C92}" dt="2025-02-11T10:41:15.675" v="415" actId="478"/>
          <ac:spMkLst>
            <pc:docMk/>
            <pc:sldMk cId="1000518306" sldId="264"/>
            <ac:spMk id="6" creationId="{17A45625-FA5F-7DCA-B6AF-1E0833F82A9E}"/>
          </ac:spMkLst>
        </pc:spChg>
        <pc:spChg chg="add mod">
          <ac:chgData name="Susanne Kunzelmann" userId="460bbbb8-bd33-4b02-9649-52f5bccb28ee" providerId="ADAL" clId="{3DDD6D5B-A0C4-4796-861B-3BC3C5974C92}" dt="2025-02-11T11:13:25.984" v="504" actId="1036"/>
          <ac:spMkLst>
            <pc:docMk/>
            <pc:sldMk cId="1000518306" sldId="264"/>
            <ac:spMk id="8" creationId="{E6E0DD8C-E7BB-CFFA-2933-EE34F1FA3CF2}"/>
          </ac:spMkLst>
        </pc:spChg>
        <pc:spChg chg="del mod">
          <ac:chgData name="Susanne Kunzelmann" userId="460bbbb8-bd33-4b02-9649-52f5bccb28ee" providerId="ADAL" clId="{3DDD6D5B-A0C4-4796-861B-3BC3C5974C92}" dt="2025-02-11T10:41:17.570" v="416" actId="478"/>
          <ac:spMkLst>
            <pc:docMk/>
            <pc:sldMk cId="1000518306" sldId="264"/>
            <ac:spMk id="9" creationId="{C1A66985-6431-4E6E-DB4B-F16B13010329}"/>
          </ac:spMkLst>
        </pc:spChg>
        <pc:spChg chg="add mod">
          <ac:chgData name="Susanne Kunzelmann" userId="460bbbb8-bd33-4b02-9649-52f5bccb28ee" providerId="ADAL" clId="{3DDD6D5B-A0C4-4796-861B-3BC3C5974C92}" dt="2025-02-11T11:13:25.984" v="504" actId="1036"/>
          <ac:spMkLst>
            <pc:docMk/>
            <pc:sldMk cId="1000518306" sldId="264"/>
            <ac:spMk id="10" creationId="{5D126A30-FF3E-C53B-1746-BBD74B16E5B6}"/>
          </ac:spMkLst>
        </pc:spChg>
        <pc:spChg chg="add mod">
          <ac:chgData name="Susanne Kunzelmann" userId="460bbbb8-bd33-4b02-9649-52f5bccb28ee" providerId="ADAL" clId="{3DDD6D5B-A0C4-4796-861B-3BC3C5974C92}" dt="2025-02-11T11:13:25.984" v="504" actId="1036"/>
          <ac:spMkLst>
            <pc:docMk/>
            <pc:sldMk cId="1000518306" sldId="264"/>
            <ac:spMk id="11" creationId="{ADA02A26-2664-48F7-F5F7-FD7304AF5F27}"/>
          </ac:spMkLst>
        </pc:spChg>
        <pc:spChg chg="del">
          <ac:chgData name="Susanne Kunzelmann" userId="460bbbb8-bd33-4b02-9649-52f5bccb28ee" providerId="ADAL" clId="{3DDD6D5B-A0C4-4796-861B-3BC3C5974C92}" dt="2025-02-11T10:25:25.376" v="2" actId="478"/>
          <ac:spMkLst>
            <pc:docMk/>
            <pc:sldMk cId="1000518306" sldId="264"/>
            <ac:spMk id="16" creationId="{4FC211E8-E27A-483A-E8E1-F37ECEA2C5D5}"/>
          </ac:spMkLst>
        </pc:spChg>
        <pc:spChg chg="mod">
          <ac:chgData name="Susanne Kunzelmann" userId="460bbbb8-bd33-4b02-9649-52f5bccb28ee" providerId="ADAL" clId="{3DDD6D5B-A0C4-4796-861B-3BC3C5974C92}" dt="2025-02-11T11:13:25.984" v="504" actId="1036"/>
          <ac:spMkLst>
            <pc:docMk/>
            <pc:sldMk cId="1000518306" sldId="264"/>
            <ac:spMk id="21" creationId="{9B638AC6-BC4B-C266-5EA9-476D804154F1}"/>
          </ac:spMkLst>
        </pc:spChg>
        <pc:picChg chg="add mod modCrop">
          <ac:chgData name="Susanne Kunzelmann" userId="460bbbb8-bd33-4b02-9649-52f5bccb28ee" providerId="ADAL" clId="{3DDD6D5B-A0C4-4796-861B-3BC3C5974C92}" dt="2025-02-11T11:13:25.984" v="504" actId="1036"/>
          <ac:picMkLst>
            <pc:docMk/>
            <pc:sldMk cId="1000518306" sldId="264"/>
            <ac:picMk id="7" creationId="{5FCDD926-6CCB-53EA-13D0-8BEC6D58D368}"/>
          </ac:picMkLst>
        </pc:picChg>
        <pc:picChg chg="mod">
          <ac:chgData name="Susanne Kunzelmann" userId="460bbbb8-bd33-4b02-9649-52f5bccb28ee" providerId="ADAL" clId="{3DDD6D5B-A0C4-4796-861B-3BC3C5974C92}" dt="2025-02-11T11:13:25.984" v="504" actId="1036"/>
          <ac:picMkLst>
            <pc:docMk/>
            <pc:sldMk cId="1000518306" sldId="264"/>
            <ac:picMk id="27" creationId="{CEC1160A-F299-9539-50B5-A35F9DC017E3}"/>
          </ac:picMkLst>
        </pc:picChg>
        <pc:cxnChg chg="add del mod">
          <ac:chgData name="Susanne Kunzelmann" userId="460bbbb8-bd33-4b02-9649-52f5bccb28ee" providerId="ADAL" clId="{3DDD6D5B-A0C4-4796-861B-3BC3C5974C92}" dt="2025-02-11T10:46:14.831" v="450" actId="478"/>
          <ac:cxnSpMkLst>
            <pc:docMk/>
            <pc:sldMk cId="1000518306" sldId="264"/>
            <ac:cxnSpMk id="12" creationId="{786EA1B3-569D-E60F-75BC-D33952A10D5D}"/>
          </ac:cxnSpMkLst>
        </pc:cxnChg>
      </pc:sldChg>
      <pc:sldChg chg="addSp delSp modSp add mod">
        <pc:chgData name="Susanne Kunzelmann" userId="460bbbb8-bd33-4b02-9649-52f5bccb28ee" providerId="ADAL" clId="{3DDD6D5B-A0C4-4796-861B-3BC3C5974C92}" dt="2025-02-11T12:29:37.286" v="540" actId="108"/>
        <pc:sldMkLst>
          <pc:docMk/>
          <pc:sldMk cId="3598540433" sldId="265"/>
        </pc:sldMkLst>
        <pc:spChg chg="mod">
          <ac:chgData name="Susanne Kunzelmann" userId="460bbbb8-bd33-4b02-9649-52f5bccb28ee" providerId="ADAL" clId="{3DDD6D5B-A0C4-4796-861B-3BC3C5974C92}" dt="2025-02-11T12:29:37.286" v="540" actId="108"/>
          <ac:spMkLst>
            <pc:docMk/>
            <pc:sldMk cId="3598540433" sldId="265"/>
            <ac:spMk id="3" creationId="{DE6D38D2-11EA-9BB2-C7BB-AD676AF83A7C}"/>
          </ac:spMkLst>
        </pc:spChg>
        <pc:spChg chg="mod">
          <ac:chgData name="Susanne Kunzelmann" userId="460bbbb8-bd33-4b02-9649-52f5bccb28ee" providerId="ADAL" clId="{3DDD6D5B-A0C4-4796-861B-3BC3C5974C92}" dt="2025-02-11T11:13:35.360" v="514" actId="1036"/>
          <ac:spMkLst>
            <pc:docMk/>
            <pc:sldMk cId="3598540433" sldId="265"/>
            <ac:spMk id="5" creationId="{B49DD226-B336-B350-94B2-1E821F52A30E}"/>
          </ac:spMkLst>
        </pc:spChg>
        <pc:spChg chg="mod">
          <ac:chgData name="Susanne Kunzelmann" userId="460bbbb8-bd33-4b02-9649-52f5bccb28ee" providerId="ADAL" clId="{3DDD6D5B-A0C4-4796-861B-3BC3C5974C92}" dt="2025-02-11T11:13:35.360" v="514" actId="1036"/>
          <ac:spMkLst>
            <pc:docMk/>
            <pc:sldMk cId="3598540433" sldId="265"/>
            <ac:spMk id="6" creationId="{39307A3C-0C6F-E298-17D8-5966EC755499}"/>
          </ac:spMkLst>
        </pc:spChg>
        <pc:spChg chg="mod">
          <ac:chgData name="Susanne Kunzelmann" userId="460bbbb8-bd33-4b02-9649-52f5bccb28ee" providerId="ADAL" clId="{3DDD6D5B-A0C4-4796-861B-3BC3C5974C92}" dt="2025-02-11T11:13:35.360" v="514" actId="1036"/>
          <ac:spMkLst>
            <pc:docMk/>
            <pc:sldMk cId="3598540433" sldId="265"/>
            <ac:spMk id="9" creationId="{B74E50F4-369B-82A8-FEB6-195B73EC80F5}"/>
          </ac:spMkLst>
        </pc:spChg>
        <pc:spChg chg="mod">
          <ac:chgData name="Susanne Kunzelmann" userId="460bbbb8-bd33-4b02-9649-52f5bccb28ee" providerId="ADAL" clId="{3DDD6D5B-A0C4-4796-861B-3BC3C5974C92}" dt="2025-02-11T11:13:35.360" v="514" actId="1036"/>
          <ac:spMkLst>
            <pc:docMk/>
            <pc:sldMk cId="3598540433" sldId="265"/>
            <ac:spMk id="21" creationId="{F96A4140-4B8E-8FCB-AE7B-10DC5008DA8B}"/>
          </ac:spMkLst>
        </pc:spChg>
        <pc:picChg chg="mod">
          <ac:chgData name="Susanne Kunzelmann" userId="460bbbb8-bd33-4b02-9649-52f5bccb28ee" providerId="ADAL" clId="{3DDD6D5B-A0C4-4796-861B-3BC3C5974C92}" dt="2025-02-11T11:13:35.360" v="514" actId="1036"/>
          <ac:picMkLst>
            <pc:docMk/>
            <pc:sldMk cId="3598540433" sldId="265"/>
            <ac:picMk id="7" creationId="{F94613BA-8186-F7DC-DC94-1008D73A76C3}"/>
          </ac:picMkLst>
        </pc:picChg>
        <pc:picChg chg="mod modCrop">
          <ac:chgData name="Susanne Kunzelmann" userId="460bbbb8-bd33-4b02-9649-52f5bccb28ee" providerId="ADAL" clId="{3DDD6D5B-A0C4-4796-861B-3BC3C5974C92}" dt="2025-02-11T11:47:01.210" v="539" actId="18131"/>
          <ac:picMkLst>
            <pc:docMk/>
            <pc:sldMk cId="3598540433" sldId="265"/>
            <ac:picMk id="27" creationId="{3FF6CCE0-CA13-6ADF-AD31-79AA315E55AF}"/>
          </ac:picMkLst>
        </pc:picChg>
        <pc:cxnChg chg="add del">
          <ac:chgData name="Susanne Kunzelmann" userId="460bbbb8-bd33-4b02-9649-52f5bccb28ee" providerId="ADAL" clId="{3DDD6D5B-A0C4-4796-861B-3BC3C5974C92}" dt="2025-02-11T10:36:59.881" v="288" actId="478"/>
          <ac:cxnSpMkLst>
            <pc:docMk/>
            <pc:sldMk cId="3598540433" sldId="265"/>
            <ac:cxnSpMk id="8" creationId="{D6EA9D5E-A846-045E-6A03-1611BE7EC017}"/>
          </ac:cxnSpMkLst>
        </pc:cxnChg>
        <pc:cxnChg chg="add del">
          <ac:chgData name="Susanne Kunzelmann" userId="460bbbb8-bd33-4b02-9649-52f5bccb28ee" providerId="ADAL" clId="{3DDD6D5B-A0C4-4796-861B-3BC3C5974C92}" dt="2025-02-11T10:46:19.109" v="451" actId="478"/>
          <ac:cxnSpMkLst>
            <pc:docMk/>
            <pc:sldMk cId="3598540433" sldId="265"/>
            <ac:cxnSpMk id="11" creationId="{845DF2E6-4272-F062-5EBB-D394572D5309}"/>
          </ac:cxnSpMkLst>
        </pc:cxnChg>
        <pc:cxnChg chg="add del mod">
          <ac:chgData name="Susanne Kunzelmann" userId="460bbbb8-bd33-4b02-9649-52f5bccb28ee" providerId="ADAL" clId="{3DDD6D5B-A0C4-4796-861B-3BC3C5974C92}" dt="2025-02-11T10:46:19.109" v="451" actId="478"/>
          <ac:cxnSpMkLst>
            <pc:docMk/>
            <pc:sldMk cId="3598540433" sldId="265"/>
            <ac:cxnSpMk id="12" creationId="{BC67B8C9-0ECD-B706-1AE3-5A861E48F54B}"/>
          </ac:cxnSpMkLst>
        </pc:cxnChg>
      </pc:sldChg>
      <pc:sldChg chg="delSp add del mod ord">
        <pc:chgData name="Susanne Kunzelmann" userId="460bbbb8-bd33-4b02-9649-52f5bccb28ee" providerId="ADAL" clId="{3DDD6D5B-A0C4-4796-861B-3BC3C5974C92}" dt="2025-02-11T10:46:07.113" v="449" actId="47"/>
        <pc:sldMkLst>
          <pc:docMk/>
          <pc:sldMk cId="3160064519" sldId="266"/>
        </pc:sldMkLst>
        <pc:picChg chg="del">
          <ac:chgData name="Susanne Kunzelmann" userId="460bbbb8-bd33-4b02-9649-52f5bccb28ee" providerId="ADAL" clId="{3DDD6D5B-A0C4-4796-861B-3BC3C5974C92}" dt="2025-02-11T10:42:17.051" v="425" actId="478"/>
          <ac:picMkLst>
            <pc:docMk/>
            <pc:sldMk cId="3160064519" sldId="266"/>
            <ac:picMk id="4" creationId="{E22C8F21-63CD-A51A-E26F-180CB4A99BDF}"/>
          </ac:picMkLst>
        </pc:picChg>
      </pc:sldChg>
      <pc:sldChg chg="delSp modSp add mod">
        <pc:chgData name="Susanne Kunzelmann" userId="460bbbb8-bd33-4b02-9649-52f5bccb28ee" providerId="ADAL" clId="{3DDD6D5B-A0C4-4796-861B-3BC3C5974C92}" dt="2025-02-11T11:13:42.429" v="524" actId="1036"/>
        <pc:sldMkLst>
          <pc:docMk/>
          <pc:sldMk cId="4163164108" sldId="266"/>
        </pc:sldMkLst>
        <pc:spChg chg="mod">
          <ac:chgData name="Susanne Kunzelmann" userId="460bbbb8-bd33-4b02-9649-52f5bccb28ee" providerId="ADAL" clId="{3DDD6D5B-A0C4-4796-861B-3BC3C5974C92}" dt="2025-02-11T11:13:42.429" v="524" actId="1036"/>
          <ac:spMkLst>
            <pc:docMk/>
            <pc:sldMk cId="4163164108" sldId="266"/>
            <ac:spMk id="8" creationId="{E6CEE277-E992-D173-5F81-E8657E19AB46}"/>
          </ac:spMkLst>
        </pc:spChg>
        <pc:spChg chg="mod">
          <ac:chgData name="Susanne Kunzelmann" userId="460bbbb8-bd33-4b02-9649-52f5bccb28ee" providerId="ADAL" clId="{3DDD6D5B-A0C4-4796-861B-3BC3C5974C92}" dt="2025-02-11T11:13:42.429" v="524" actId="1036"/>
          <ac:spMkLst>
            <pc:docMk/>
            <pc:sldMk cId="4163164108" sldId="266"/>
            <ac:spMk id="10" creationId="{3FDFC12B-3927-DFFB-C704-EF5453A89407}"/>
          </ac:spMkLst>
        </pc:spChg>
        <pc:spChg chg="mod">
          <ac:chgData name="Susanne Kunzelmann" userId="460bbbb8-bd33-4b02-9649-52f5bccb28ee" providerId="ADAL" clId="{3DDD6D5B-A0C4-4796-861B-3BC3C5974C92}" dt="2025-02-11T11:13:42.429" v="524" actId="1036"/>
          <ac:spMkLst>
            <pc:docMk/>
            <pc:sldMk cId="4163164108" sldId="266"/>
            <ac:spMk id="11" creationId="{93DE19A4-FC78-1044-249B-FBE5B7B8AE36}"/>
          </ac:spMkLst>
        </pc:spChg>
        <pc:spChg chg="mod">
          <ac:chgData name="Susanne Kunzelmann" userId="460bbbb8-bd33-4b02-9649-52f5bccb28ee" providerId="ADAL" clId="{3DDD6D5B-A0C4-4796-861B-3BC3C5974C92}" dt="2025-02-11T11:13:42.429" v="524" actId="1036"/>
          <ac:spMkLst>
            <pc:docMk/>
            <pc:sldMk cId="4163164108" sldId="266"/>
            <ac:spMk id="21" creationId="{406C3CCD-041C-C17C-3CB1-FD5F55CFD35F}"/>
          </ac:spMkLst>
        </pc:spChg>
        <pc:picChg chg="del">
          <ac:chgData name="Susanne Kunzelmann" userId="460bbbb8-bd33-4b02-9649-52f5bccb28ee" providerId="ADAL" clId="{3DDD6D5B-A0C4-4796-861B-3BC3C5974C92}" dt="2025-02-11T10:46:26.480" v="453" actId="478"/>
          <ac:picMkLst>
            <pc:docMk/>
            <pc:sldMk cId="4163164108" sldId="266"/>
            <ac:picMk id="4" creationId="{53AE23E8-307E-8743-4AFD-6BC21A82223D}"/>
          </ac:picMkLst>
        </pc:picChg>
        <pc:picChg chg="mod">
          <ac:chgData name="Susanne Kunzelmann" userId="460bbbb8-bd33-4b02-9649-52f5bccb28ee" providerId="ADAL" clId="{3DDD6D5B-A0C4-4796-861B-3BC3C5974C92}" dt="2025-02-11T11:13:42.429" v="524" actId="1036"/>
          <ac:picMkLst>
            <pc:docMk/>
            <pc:sldMk cId="4163164108" sldId="266"/>
            <ac:picMk id="7" creationId="{1B0A679E-455D-3822-8A18-9DEB2779B227}"/>
          </ac:picMkLst>
        </pc:picChg>
        <pc:picChg chg="mod">
          <ac:chgData name="Susanne Kunzelmann" userId="460bbbb8-bd33-4b02-9649-52f5bccb28ee" providerId="ADAL" clId="{3DDD6D5B-A0C4-4796-861B-3BC3C5974C92}" dt="2025-02-11T11:13:42.429" v="524" actId="1036"/>
          <ac:picMkLst>
            <pc:docMk/>
            <pc:sldMk cId="4163164108" sldId="266"/>
            <ac:picMk id="27" creationId="{1E85E627-362F-119B-8DAA-3B4677739751}"/>
          </ac:picMkLst>
        </pc:picChg>
      </pc:sldChg>
      <pc:sldChg chg="delSp modSp add del mod">
        <pc:chgData name="Susanne Kunzelmann" userId="460bbbb8-bd33-4b02-9649-52f5bccb28ee" providerId="ADAL" clId="{3DDD6D5B-A0C4-4796-861B-3BC3C5974C92}" dt="2025-02-11T12:29:48.219" v="545" actId="47"/>
        <pc:sldMkLst>
          <pc:docMk/>
          <pc:sldMk cId="1745747164" sldId="267"/>
        </pc:sldMkLst>
        <pc:spChg chg="mod">
          <ac:chgData name="Susanne Kunzelmann" userId="460bbbb8-bd33-4b02-9649-52f5bccb28ee" providerId="ADAL" clId="{3DDD6D5B-A0C4-4796-861B-3BC3C5974C92}" dt="2025-02-11T11:13:49.428" v="534" actId="1036"/>
          <ac:spMkLst>
            <pc:docMk/>
            <pc:sldMk cId="1745747164" sldId="267"/>
            <ac:spMk id="5" creationId="{33C91AA4-3BC0-F270-2E06-45F8D76DD26F}"/>
          </ac:spMkLst>
        </pc:spChg>
        <pc:spChg chg="mod">
          <ac:chgData name="Susanne Kunzelmann" userId="460bbbb8-bd33-4b02-9649-52f5bccb28ee" providerId="ADAL" clId="{3DDD6D5B-A0C4-4796-861B-3BC3C5974C92}" dt="2025-02-11T11:13:49.428" v="534" actId="1036"/>
          <ac:spMkLst>
            <pc:docMk/>
            <pc:sldMk cId="1745747164" sldId="267"/>
            <ac:spMk id="6" creationId="{6CB86315-D845-B17D-18F0-DAC4F5D45FED}"/>
          </ac:spMkLst>
        </pc:spChg>
        <pc:spChg chg="mod">
          <ac:chgData name="Susanne Kunzelmann" userId="460bbbb8-bd33-4b02-9649-52f5bccb28ee" providerId="ADAL" clId="{3DDD6D5B-A0C4-4796-861B-3BC3C5974C92}" dt="2025-02-11T11:13:49.428" v="534" actId="1036"/>
          <ac:spMkLst>
            <pc:docMk/>
            <pc:sldMk cId="1745747164" sldId="267"/>
            <ac:spMk id="9" creationId="{BFF80C03-862E-AC33-4296-E4856483CA6B}"/>
          </ac:spMkLst>
        </pc:spChg>
        <pc:spChg chg="mod">
          <ac:chgData name="Susanne Kunzelmann" userId="460bbbb8-bd33-4b02-9649-52f5bccb28ee" providerId="ADAL" clId="{3DDD6D5B-A0C4-4796-861B-3BC3C5974C92}" dt="2025-02-11T11:13:49.428" v="534" actId="1036"/>
          <ac:spMkLst>
            <pc:docMk/>
            <pc:sldMk cId="1745747164" sldId="267"/>
            <ac:spMk id="21" creationId="{329D4810-8470-A04B-F091-3CA57316A718}"/>
          </ac:spMkLst>
        </pc:spChg>
        <pc:picChg chg="del">
          <ac:chgData name="Susanne Kunzelmann" userId="460bbbb8-bd33-4b02-9649-52f5bccb28ee" providerId="ADAL" clId="{3DDD6D5B-A0C4-4796-861B-3BC3C5974C92}" dt="2025-02-11T10:46:28.491" v="454" actId="478"/>
          <ac:picMkLst>
            <pc:docMk/>
            <pc:sldMk cId="1745747164" sldId="267"/>
            <ac:picMk id="4" creationId="{39DAECC4-5421-714A-8AA2-4B21E6B6E2B3}"/>
          </ac:picMkLst>
        </pc:picChg>
        <pc:picChg chg="mod">
          <ac:chgData name="Susanne Kunzelmann" userId="460bbbb8-bd33-4b02-9649-52f5bccb28ee" providerId="ADAL" clId="{3DDD6D5B-A0C4-4796-861B-3BC3C5974C92}" dt="2025-02-11T11:13:49.428" v="534" actId="1036"/>
          <ac:picMkLst>
            <pc:docMk/>
            <pc:sldMk cId="1745747164" sldId="267"/>
            <ac:picMk id="7" creationId="{43859454-0401-E04A-BA02-D0213EEF7EC1}"/>
          </ac:picMkLst>
        </pc:picChg>
        <pc:picChg chg="mod">
          <ac:chgData name="Susanne Kunzelmann" userId="460bbbb8-bd33-4b02-9649-52f5bccb28ee" providerId="ADAL" clId="{3DDD6D5B-A0C4-4796-861B-3BC3C5974C92}" dt="2025-02-11T11:13:49.428" v="534" actId="1036"/>
          <ac:picMkLst>
            <pc:docMk/>
            <pc:sldMk cId="1745747164" sldId="267"/>
            <ac:picMk id="27" creationId="{13DCCA5E-C445-F4B2-59B9-7B9C9409C1B4}"/>
          </ac:picMkLst>
        </pc:picChg>
      </pc:sldChg>
      <pc:sldChg chg="delSp add mod ord">
        <pc:chgData name="Susanne Kunzelmann" userId="460bbbb8-bd33-4b02-9649-52f5bccb28ee" providerId="ADAL" clId="{3DDD6D5B-A0C4-4796-861B-3BC3C5974C92}" dt="2025-02-11T12:29:46.884" v="544" actId="478"/>
        <pc:sldMkLst>
          <pc:docMk/>
          <pc:sldMk cId="726126779" sldId="268"/>
        </pc:sldMkLst>
        <pc:picChg chg="del">
          <ac:chgData name="Susanne Kunzelmann" userId="460bbbb8-bd33-4b02-9649-52f5bccb28ee" providerId="ADAL" clId="{3DDD6D5B-A0C4-4796-861B-3BC3C5974C92}" dt="2025-02-11T12:29:46.884" v="544" actId="478"/>
          <ac:picMkLst>
            <pc:docMk/>
            <pc:sldMk cId="726126779" sldId="268"/>
            <ac:picMk id="4" creationId="{8CC42452-033D-363A-11D1-1F860D24560B}"/>
          </ac:picMkLst>
        </pc:picChg>
      </pc:sldChg>
    </pc:docChg>
  </pc:docChgLst>
  <pc:docChgLst>
    <pc:chgData name="Florian Reil" userId="8a074c11-e60d-421d-81c7-ab35e8584cab" providerId="ADAL" clId="{24BB3FFC-B345-416D-987A-C412B95EA37B}"/>
    <pc:docChg chg="custSel addSld modSld">
      <pc:chgData name="Florian Reil" userId="8a074c11-e60d-421d-81c7-ab35e8584cab" providerId="ADAL" clId="{24BB3FFC-B345-416D-987A-C412B95EA37B}" dt="2025-02-14T11:14:27.698" v="154" actId="20577"/>
      <pc:docMkLst>
        <pc:docMk/>
      </pc:docMkLst>
      <pc:sldChg chg="modSp add mod">
        <pc:chgData name="Florian Reil" userId="8a074c11-e60d-421d-81c7-ab35e8584cab" providerId="ADAL" clId="{24BB3FFC-B345-416D-987A-C412B95EA37B}" dt="2025-02-14T11:14:27.698" v="154" actId="20577"/>
        <pc:sldMkLst>
          <pc:docMk/>
          <pc:sldMk cId="3903323802" sldId="269"/>
        </pc:sldMkLst>
        <pc:spChg chg="mod">
          <ac:chgData name="Florian Reil" userId="8a074c11-e60d-421d-81c7-ab35e8584cab" providerId="ADAL" clId="{24BB3FFC-B345-416D-987A-C412B95EA37B}" dt="2025-02-11T13:36:38.684" v="148" actId="20577"/>
          <ac:spMkLst>
            <pc:docMk/>
            <pc:sldMk cId="3903323802" sldId="269"/>
            <ac:spMk id="5" creationId="{66B1EC25-C643-9CCE-8D11-68117344015F}"/>
          </ac:spMkLst>
        </pc:spChg>
        <pc:spChg chg="mod">
          <ac:chgData name="Florian Reil" userId="8a074c11-e60d-421d-81c7-ab35e8584cab" providerId="ADAL" clId="{24BB3FFC-B345-416D-987A-C412B95EA37B}" dt="2025-02-14T11:14:27.698" v="154" actId="20577"/>
          <ac:spMkLst>
            <pc:docMk/>
            <pc:sldMk cId="3903323802" sldId="269"/>
            <ac:spMk id="6" creationId="{D74695B4-630A-5EA8-423C-9404A028D1F6}"/>
          </ac:spMkLst>
        </pc:spChg>
      </pc:sldChg>
    </pc:docChg>
  </pc:docChgLst>
  <pc:docChgLst>
    <pc:chgData name="Florian Reil" userId="S::reil@muenchen.ihk.de::8a074c11-e60d-421d-81c7-ab35e8584cab" providerId="AD" clId="Web-{C530A99C-19D8-3BD7-0569-DDADFA084DDC}"/>
    <pc:docChg chg="modSld">
      <pc:chgData name="Florian Reil" userId="S::reil@muenchen.ihk.de::8a074c11-e60d-421d-81c7-ab35e8584cab" providerId="AD" clId="Web-{C530A99C-19D8-3BD7-0569-DDADFA084DDC}" dt="2025-02-14T11:14:14.222" v="25" actId="20577"/>
      <pc:docMkLst>
        <pc:docMk/>
      </pc:docMkLst>
      <pc:sldChg chg="modSp">
        <pc:chgData name="Florian Reil" userId="S::reil@muenchen.ihk.de::8a074c11-e60d-421d-81c7-ab35e8584cab" providerId="AD" clId="Web-{C530A99C-19D8-3BD7-0569-DDADFA084DDC}" dt="2025-02-14T11:14:14.222" v="25" actId="20577"/>
        <pc:sldMkLst>
          <pc:docMk/>
          <pc:sldMk cId="3903323802" sldId="269"/>
        </pc:sldMkLst>
        <pc:spChg chg="mod">
          <ac:chgData name="Florian Reil" userId="S::reil@muenchen.ihk.de::8a074c11-e60d-421d-81c7-ab35e8584cab" providerId="AD" clId="Web-{C530A99C-19D8-3BD7-0569-DDADFA084DDC}" dt="2025-02-14T11:12:57.659" v="2" actId="20577"/>
          <ac:spMkLst>
            <pc:docMk/>
            <pc:sldMk cId="3903323802" sldId="269"/>
            <ac:spMk id="5" creationId="{66B1EC25-C643-9CCE-8D11-68117344015F}"/>
          </ac:spMkLst>
        </pc:spChg>
        <pc:spChg chg="mod">
          <ac:chgData name="Florian Reil" userId="S::reil@muenchen.ihk.de::8a074c11-e60d-421d-81c7-ab35e8584cab" providerId="AD" clId="Web-{C530A99C-19D8-3BD7-0569-DDADFA084DDC}" dt="2025-02-14T11:14:14.222" v="25" actId="20577"/>
          <ac:spMkLst>
            <pc:docMk/>
            <pc:sldMk cId="3903323802" sldId="269"/>
            <ac:spMk id="6" creationId="{D74695B4-630A-5EA8-423C-9404A028D1F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DBFC116-0A75-42B5-A04E-F8BD0D6498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B0CF9B-D954-42B7-B17E-338E3FF69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D7338C-558B-4699-B3FB-1110B8EA4586}" type="datetimeFigureOut">
              <a:rPr lang="de-DE" smtClean="0"/>
              <a:t>24.02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4D72FA-85CC-4596-9FF4-9ED4A04B2B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88BB88-0E94-40AD-91D8-222A3B335C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DA3FD-D6B2-4777-A342-E12BB081EB6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693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12F3CF-33A8-431F-AD91-991887D9CE92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170113" y="923925"/>
            <a:ext cx="2457450" cy="3070225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625" y="4297189"/>
            <a:ext cx="6034426" cy="48065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4F251E-0D5E-4CFD-ACCC-9623B92A1BF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776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685800" rtl="0" eaLnBrk="1" latinLnBrk="0" hangingPunct="1">
      <a:buClr>
        <a:schemeClr val="accent2"/>
      </a:buClr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HK Presse-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1929882A-2682-C6E6-F570-FB9D3F29B0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94" y="0"/>
            <a:ext cx="5143500" cy="64293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893" y="1985"/>
          <a:ext cx="894" cy="1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93" y="1985"/>
                        <a:ext cx="894" cy="1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89324" cy="1984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154979" y="-321469"/>
            <a:ext cx="5455045" cy="7072313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5944ABC0-70C5-815E-CB91-7102B30A43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57828" y="5914220"/>
            <a:ext cx="670560" cy="335280"/>
          </a:xfrm>
          <a:prstGeom prst="rect">
            <a:avLst/>
          </a:prstGeom>
        </p:spPr>
      </p:pic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C5D5B9E5-AA64-35E5-7BA0-A23A7CB6CD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54979" y="3477798"/>
            <a:ext cx="2269734" cy="2269734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Hier 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722800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HK Presse-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191D554-DA52-3B8D-E85A-4D7CF312A17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94" y="0"/>
            <a:ext cx="5143500" cy="6429375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893" y="1985"/>
          <a:ext cx="894" cy="1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93" y="1985"/>
                        <a:ext cx="894" cy="19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89324" cy="19843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154979" y="-321469"/>
            <a:ext cx="5455045" cy="7072313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F7FE1967-7BEF-06B3-B569-6937A66F092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54979" y="3477798"/>
            <a:ext cx="2269734" cy="2269734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de-DE"/>
              <a:t>Hier Bild einfüge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944ABC0-70C5-815E-CB91-7102B30A432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57828" y="5914220"/>
            <a:ext cx="670560" cy="335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1676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9494226-E554-4FC7-B318-8585A96BFA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07897003"/>
              </p:ext>
            </p:extLst>
          </p:nvPr>
        </p:nvGraphicFramePr>
        <p:xfrm>
          <a:off x="670" y="1491"/>
          <a:ext cx="670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9494226-E554-4FC7-B318-8585A96BF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70" y="1491"/>
                        <a:ext cx="670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E8200DA-6877-4A0D-B76D-424E7DEE2674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2"/>
            <a:ext cx="66994" cy="1488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B86E61B-1555-4B54-8C51-D0C2BAEE3892}"/>
              </a:ext>
            </a:extLst>
          </p:cNvPr>
          <p:cNvGrpSpPr/>
          <p:nvPr userDrawn="1"/>
        </p:nvGrpSpPr>
        <p:grpSpPr>
          <a:xfrm>
            <a:off x="-154979" y="-321469"/>
            <a:ext cx="5455045" cy="7072313"/>
            <a:chOff x="-275432" y="-257175"/>
            <a:chExt cx="9694864" cy="5657850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DB04EBDB-6A7B-41F4-9D21-500C86167CBD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4C53E18-2E52-4A5A-BFE9-6E211A58729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46A5D2C9-8E80-4F2D-99C8-9C39CD844AC8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044A3345-E6E7-4E61-8442-D39B7168205E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31827FFE-80B9-477D-96AE-EAAD5AAE8410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0D40870-2C76-4F71-BD42-6EFF05528E0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F4B1C61-34C8-45DA-AB77-603DA8383E83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A6AC9FD-F403-4379-8988-3954EBD52BDF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88E6779E-0635-4B7F-803D-E85697035A8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99D28C8A-CB08-4192-ABDD-A23FBD188D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7E377B75-8EB1-4F25-8C6A-A135AD8851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3A6A6AF1-A6BE-4274-B88F-8252F09C734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2ECDE6AF-4A10-46FF-B72E-92A482B303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0BD9BC89-0BDB-4EBC-BE38-E58CB96531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ADD313AF-D8EB-29A3-BB94-3B363F46E93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94" y="0"/>
            <a:ext cx="5143500" cy="6429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623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sldNum="0"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59" userDrawn="1">
          <p15:clr>
            <a:srgbClr val="F26B43"/>
          </p15:clr>
        </p15:guide>
        <p15:guide id="2" pos="1589" userDrawn="1">
          <p15:clr>
            <a:srgbClr val="F26B43"/>
          </p15:clr>
        </p15:guide>
        <p15:guide id="3" pos="1652" userDrawn="1">
          <p15:clr>
            <a:srgbClr val="F26B43"/>
          </p15:clr>
        </p15:guide>
        <p15:guide id="4" pos="3081" userDrawn="1">
          <p15:clr>
            <a:srgbClr val="F26B43"/>
          </p15:clr>
        </p15:guide>
        <p15:guide id="5" orient="horz" pos="976" userDrawn="1">
          <p15:clr>
            <a:srgbClr val="F26B43"/>
          </p15:clr>
        </p15:guide>
        <p15:guide id="6" orient="horz" pos="361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B7754D-7D31-CBF6-6365-911990C786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8FB73843-FA4B-CB3F-4B52-F9FFB5C0A393}"/>
              </a:ext>
            </a:extLst>
          </p:cNvPr>
          <p:cNvSpPr txBox="1"/>
          <p:nvPr/>
        </p:nvSpPr>
        <p:spPr>
          <a:xfrm rot="16200000">
            <a:off x="3536291" y="1379396"/>
            <a:ext cx="2974236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800" b="0" dirty="0">
                <a:solidFill>
                  <a:srgbClr val="9A9A9A"/>
                </a:solidFill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Foto © Quelle</a:t>
            </a:r>
            <a:endParaRPr lang="de-DE" sz="800" dirty="0">
              <a:solidFill>
                <a:srgbClr val="9A9A9A"/>
              </a:solidFill>
              <a:latin typeface="Arial" panose="020B0604020202020204" pitchFamily="34" charset="0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itelplatzhalter 18">
            <a:extLst>
              <a:ext uri="{FF2B5EF4-FFF2-40B4-BE49-F238E27FC236}">
                <a16:creationId xmlns:a16="http://schemas.microsoft.com/office/drawing/2014/main" id="{9B638AC6-BC4B-C266-5EA9-476D804154F1}"/>
              </a:ext>
            </a:extLst>
          </p:cNvPr>
          <p:cNvSpPr txBox="1">
            <a:spLocks/>
          </p:cNvSpPr>
          <p:nvPr/>
        </p:nvSpPr>
        <p:spPr>
          <a:xfrm>
            <a:off x="2300518" y="1596010"/>
            <a:ext cx="2844570" cy="9909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000" b="1" noProof="1">
                <a:solidFill>
                  <a:srgbClr val="003366"/>
                </a:solidFill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Name</a:t>
            </a:r>
          </a:p>
          <a:p>
            <a:r>
              <a:rPr lang="de-DE" sz="1800" noProof="1">
                <a:solidFill>
                  <a:srgbClr val="003366"/>
                </a:solidFill>
                <a:latin typeface="Arial" panose="020B0604020202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IHK-Hauptgeschäftsführer</a:t>
            </a:r>
          </a:p>
        </p:txBody>
      </p:sp>
      <p:pic>
        <p:nvPicPr>
          <p:cNvPr id="27" name="Bildplatzhalter 26">
            <a:extLst>
              <a:ext uri="{FF2B5EF4-FFF2-40B4-BE49-F238E27FC236}">
                <a16:creationId xmlns:a16="http://schemas.microsoft.com/office/drawing/2014/main" id="{CEC1160A-F299-9539-50B5-A35F9DC017E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5541" r="5541"/>
          <a:stretch/>
        </p:blipFill>
        <p:spPr>
          <a:xfrm>
            <a:off x="-154979" y="1205330"/>
            <a:ext cx="2269734" cy="2269734"/>
          </a:xfrm>
          <a:noFill/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1208795B-8274-91B2-611E-4682AE6416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9036" y="5907595"/>
            <a:ext cx="685869" cy="342000"/>
          </a:xfrm>
          <a:prstGeom prst="rect">
            <a:avLst/>
          </a:prstGeom>
        </p:spPr>
      </p:pic>
      <p:pic>
        <p:nvPicPr>
          <p:cNvPr id="7" name="Bildplatzhalter 26">
            <a:extLst>
              <a:ext uri="{FF2B5EF4-FFF2-40B4-BE49-F238E27FC236}">
                <a16:creationId xmlns:a16="http://schemas.microsoft.com/office/drawing/2014/main" id="{5FCDD926-6CCB-53EA-13D0-8BEC6D58D36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9927" t="1710" r="4105" b="1236"/>
          <a:stretch/>
        </p:blipFill>
        <p:spPr>
          <a:xfrm>
            <a:off x="1433867" y="2322788"/>
            <a:ext cx="1296000" cy="1296000"/>
          </a:xfrm>
          <a:prstGeom prst="ellipse">
            <a:avLst/>
          </a:prstGeom>
          <a:solidFill>
            <a:schemeClr val="bg2">
              <a:lumMod val="90000"/>
            </a:schemeClr>
          </a:solidFill>
        </p:spPr>
      </p:pic>
      <p:sp>
        <p:nvSpPr>
          <p:cNvPr id="8" name="Titelplatzhalter 18">
            <a:extLst>
              <a:ext uri="{FF2B5EF4-FFF2-40B4-BE49-F238E27FC236}">
                <a16:creationId xmlns:a16="http://schemas.microsoft.com/office/drawing/2014/main" id="{E6E0DD8C-E7BB-CFFA-2933-EE34F1FA3CF2}"/>
              </a:ext>
            </a:extLst>
          </p:cNvPr>
          <p:cNvSpPr txBox="1">
            <a:spLocks noChangeAspect="1"/>
          </p:cNvSpPr>
          <p:nvPr/>
        </p:nvSpPr>
        <p:spPr>
          <a:xfrm>
            <a:off x="360248" y="430347"/>
            <a:ext cx="3419271" cy="56973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600" noProof="1">
                <a:solidFill>
                  <a:schemeClr val="tx2"/>
                </a:solidFill>
                <a:latin typeface="Arial" panose="020B0604020202020204" pitchFamily="34" charset="0"/>
                <a:ea typeface="Source Sans Pro SemiBold" panose="020B0503030403020204" pitchFamily="34" charset="0"/>
                <a:cs typeface="Arial" panose="020B0604020202020204" pitchFamily="34" charset="0"/>
              </a:rPr>
              <a:t>Unser </a:t>
            </a:r>
            <a:r>
              <a:rPr lang="de-DE" sz="3600" b="1" noProof="1">
                <a:solidFill>
                  <a:schemeClr val="tx2"/>
                </a:solidFill>
                <a:latin typeface="Arial" panose="020B0604020202020204" pitchFamily="34" charset="0"/>
                <a:ea typeface="Source Sans Pro SemiBold" panose="020B0503030403020204" pitchFamily="34" charset="0"/>
                <a:cs typeface="Arial" panose="020B0604020202020204" pitchFamily="34" charset="0"/>
              </a:rPr>
              <a:t>TV-Tipp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D126A30-FF3E-C53B-1746-BBD74B16E5B6}"/>
              </a:ext>
            </a:extLst>
          </p:cNvPr>
          <p:cNvSpPr txBox="1"/>
          <p:nvPr/>
        </p:nvSpPr>
        <p:spPr>
          <a:xfrm>
            <a:off x="286312" y="3857910"/>
            <a:ext cx="43307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>
                <a:solidFill>
                  <a:srgbClr val="009ED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ute, 07.09.2022, 12:05-13:00 Uhr</a:t>
            </a:r>
            <a:br>
              <a:rPr lang="de-DE" sz="2000" b="1">
                <a:solidFill>
                  <a:srgbClr val="009ED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>
                <a:solidFill>
                  <a:srgbClr val="009ED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 SENDERNAM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DA02A26-2664-48F7-F5F7-FD7304AF5F27}"/>
              </a:ext>
            </a:extLst>
          </p:cNvPr>
          <p:cNvSpPr txBox="1"/>
          <p:nvPr/>
        </p:nvSpPr>
        <p:spPr>
          <a:xfrm>
            <a:off x="293932" y="4576531"/>
            <a:ext cx="47451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0" i="0">
                <a:solidFill>
                  <a:srgbClr val="575756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ndungsname und Thema, gerne zweizeilig…. Auch dreizeilig möglich, wie man sieht</a:t>
            </a:r>
            <a:endParaRPr lang="de-DE" sz="2000">
              <a:solidFill>
                <a:srgbClr val="5757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0518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ZroOkhcWrdmzHqHrIk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heme/theme1.xml><?xml version="1.0" encoding="utf-8"?>
<a:theme xmlns:a="http://schemas.openxmlformats.org/drawingml/2006/main" name="BIHK Presse-Zitat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B3B2B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Titan 100%">
      <a:srgbClr val="575756"/>
    </a:custClr>
    <a:custClr name="Titan 80%">
      <a:srgbClr val="797978"/>
    </a:custClr>
    <a:custClr name="Titan 70%">
      <a:srgbClr val="8A8A89"/>
    </a:custClr>
    <a:custClr name="Titan 60%">
      <a:srgbClr val="9A9A9A"/>
    </a:custClr>
    <a:custClr name="Titan 50%">
      <a:srgbClr val="ABABAA"/>
    </a:custClr>
    <a:custClr name="Titan 40%">
      <a:srgbClr val="BCBCBB"/>
    </a:custClr>
    <a:custClr name="Titan 30%">
      <a:srgbClr val="CCCCCC"/>
    </a:custClr>
    <a:custClr name="Titan 20%">
      <a:srgbClr val="DDDDDD"/>
    </a:custClr>
    <a:custClr name="Titan 10%">
      <a:srgbClr val="EEEEEE"/>
    </a:custClr>
    <a:custClr name="White">
      <a:srgbClr val="FFFFFF"/>
    </a:custClr>
    <a:custClr name="Sky 100%">
      <a:srgbClr val="009ED4"/>
    </a:custClr>
    <a:custClr name="Sky 80%">
      <a:srgbClr val="33B1DD"/>
    </a:custClr>
    <a:custClr name="Sky 70%">
      <a:srgbClr val="4DBBE1"/>
    </a:custClr>
    <a:custClr name="Sky 60%">
      <a:srgbClr val="66C5E5"/>
    </a:custClr>
    <a:custClr name="Sky 50%">
      <a:srgbClr val="7FCEE9"/>
    </a:custClr>
    <a:custClr name="Sky 40%">
      <a:srgbClr val="99D8EE"/>
    </a:custClr>
    <a:custClr name="Sky 30%">
      <a:srgbClr val="B2E2F2"/>
    </a:custClr>
    <a:custClr name="Sky 20%">
      <a:srgbClr val="CCECF6"/>
    </a:custClr>
    <a:custClr name="Sky 10%">
      <a:srgbClr val="E5F5FB"/>
    </a:custClr>
    <a:custClr name="White">
      <a:srgbClr val="FFFFFF"/>
    </a:custClr>
    <a:custClr name="Ocean">
      <a:srgbClr val="003366"/>
    </a:custClr>
    <a:custClr name="Lime">
      <a:srgbClr val="76B82A"/>
    </a:custClr>
    <a:custClr name="Hibiskus">
      <a:srgbClr val="E40D2E"/>
    </a:custClr>
    <a:custClr name="Mauve">
      <a:srgbClr val="9F5098"/>
    </a:custClr>
    <a:custClr name="Mandarin">
      <a:srgbClr val="F0821A"/>
    </a:custClr>
    <a:custClr name="Sun">
      <a:srgbClr val="FFCE00"/>
    </a:custClr>
    <a:custClr name="Stone">
      <a:srgbClr val="B1B3B4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IHK_PPT-Template" id="{787B45A7-4684-4B2A-BE69-B785DDA374B8}" vid="{613B815C-7FA6-4395-AC25-FA10C12BB2AF}"/>
    </a:ext>
  </a:extLst>
</a:theme>
</file>

<file path=ppt/theme/theme2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37D5C4606E6754A85FF17C944E6CC99" ma:contentTypeVersion="17" ma:contentTypeDescription="Ein neues Dokument erstellen." ma:contentTypeScope="" ma:versionID="811042f0ab363d3520bdfbb34aadc5ff">
  <xsd:schema xmlns:xsd="http://www.w3.org/2001/XMLSchema" xmlns:xs="http://www.w3.org/2001/XMLSchema" xmlns:p="http://schemas.microsoft.com/office/2006/metadata/properties" xmlns:ns1="http://schemas.microsoft.com/sharepoint/v3" xmlns:ns2="a04dc6fb-b7f1-4703-aa16-3aaf5a84df0f" xmlns:ns3="7055c22d-a8fe-4eff-a0e9-a5abd381db3c" targetNamespace="http://schemas.microsoft.com/office/2006/metadata/properties" ma:root="true" ma:fieldsID="f9e8bb9a352052af0db8f24576456244" ns1:_="" ns2:_="" ns3:_="">
    <xsd:import namespace="http://schemas.microsoft.com/sharepoint/v3"/>
    <xsd:import namespace="a04dc6fb-b7f1-4703-aa16-3aaf5a84df0f"/>
    <xsd:import namespace="7055c22d-a8fe-4eff-a0e9-a5abd381d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4dc6fb-b7f1-4703-aa16-3aaf5a84df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5451bee-5533-49a1-8dd5-f30616748e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55c22d-a8fe-4eff-a0e9-a5abd381db3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80c1e279-5997-4643-bdcd-d4c146cb2c49}" ma:internalName="TaxCatchAll" ma:showField="CatchAllData" ma:web="7055c22d-a8fe-4eff-a0e9-a5abd381db3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a04dc6fb-b7f1-4703-aa16-3aaf5a84df0f">
      <Terms xmlns="http://schemas.microsoft.com/office/infopath/2007/PartnerControls"/>
    </lcf76f155ced4ddcb4097134ff3c332f>
    <TaxCatchAll xmlns="7055c22d-a8fe-4eff-a0e9-a5abd381db3c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C14FAC3-3CCD-46FD-9E3A-22D1E17437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D6A96B0-9517-4BC9-8500-A7A9B16F49FA}">
  <ds:schemaRefs>
    <ds:schemaRef ds:uri="7055c22d-a8fe-4eff-a0e9-a5abd381db3c"/>
    <ds:schemaRef ds:uri="a04dc6fb-b7f1-4703-aa16-3aaf5a84df0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2FDE106-28A8-4203-B56A-A4678B13014D}">
  <ds:schemaRefs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7055c22d-a8fe-4eff-a0e9-a5abd381db3c"/>
    <ds:schemaRef ds:uri="a04dc6fb-b7f1-4703-aa16-3aaf5a84df0f"/>
    <ds:schemaRef ds:uri="http://schemas.microsoft.com/sharepoint/v3"/>
  </ds:schemaRefs>
</ds:datastoreItem>
</file>

<file path=docMetadata/LabelInfo.xml><?xml version="1.0" encoding="utf-8"?>
<clbl:labelList xmlns:clbl="http://schemas.microsoft.com/office/2020/mipLabelMetadata">
  <clbl:label id="{ae434e2b-6fb6-4857-b481-761902932f44}" enabled="0" method="" siteId="{ae434e2b-6fb6-4857-b481-761902932f4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HK_PPT-Template</Template>
  <TotalTime>0</TotalTime>
  <Words>30</Words>
  <Application>Microsoft Office PowerPoint</Application>
  <PresentationFormat>Benutzerdefiniert</PresentationFormat>
  <Paragraphs>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Wingdings</vt:lpstr>
      <vt:lpstr>BIHK Presse-Zitat</vt:lpstr>
      <vt:lpstr>think-cell Folie</vt:lpstr>
      <vt:lpstr>PowerPoint-Präsentation</vt:lpstr>
    </vt:vector>
  </TitlesOfParts>
  <Company>IHK München und Oberbayer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usanne Kunzelmann</dc:creator>
  <cp:lastModifiedBy>Susanne Kunzelmann</cp:lastModifiedBy>
  <cp:revision>2</cp:revision>
  <cp:lastPrinted>2020-07-13T13:33:26Z</cp:lastPrinted>
  <dcterms:created xsi:type="dcterms:W3CDTF">2023-09-29T12:27:15Z</dcterms:created>
  <dcterms:modified xsi:type="dcterms:W3CDTF">2025-02-24T10:2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7D5C4606E6754A85FF17C944E6CC99</vt:lpwstr>
  </property>
  <property fmtid="{D5CDD505-2E9C-101B-9397-08002B2CF9AE}" pid="3" name="MediaServiceImageTags">
    <vt:lpwstr/>
  </property>
</Properties>
</file>